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9144000" cy="6858000" type="screen4x3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46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910D63-D8FD-4306-8BED-C56508019E1E}" type="datetimeFigureOut">
              <a:rPr lang="nb-NO" smtClean="0"/>
              <a:t>25.04.2016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CE8117-4DB6-4C68-A387-6DE39061767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7500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E04AF4-9349-46AA-A852-EDBA0956AC94}" type="slidenum">
              <a:rPr lang="nb-NO" smtClean="0">
                <a:solidFill>
                  <a:prstClr val="black"/>
                </a:solidFill>
              </a:rPr>
              <a:pPr/>
              <a:t>1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783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02E1E2-55EE-4BB1-A4DB-B6DE613DBC36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652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355600" y="1441452"/>
            <a:ext cx="8432800" cy="473075"/>
          </a:xfrm>
        </p:spPr>
        <p:txBody>
          <a:bodyPr>
            <a:noAutofit/>
          </a:bodyPr>
          <a:lstStyle>
            <a:lvl1pPr algn="ctr">
              <a:defRPr sz="3100" b="1" i="0">
                <a:solidFill>
                  <a:schemeClr val="bg1"/>
                </a:solidFill>
              </a:defRPr>
            </a:lvl1pPr>
          </a:lstStyle>
          <a:p>
            <a:r>
              <a:rPr lang="nb-NO" dirty="0" err="1" smtClean="0"/>
              <a:t>Xxxxxxxxx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355600" y="1847851"/>
            <a:ext cx="8432800" cy="470148"/>
          </a:xfrm>
        </p:spPr>
        <p:txBody>
          <a:bodyPr>
            <a:normAutofit/>
          </a:bodyPr>
          <a:lstStyle>
            <a:lvl1pPr marL="0" indent="0" algn="ctr">
              <a:buNone/>
              <a:defRPr sz="2100" b="0" i="0">
                <a:solidFill>
                  <a:schemeClr val="bg1"/>
                </a:solidFill>
                <a:latin typeface="Telenor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Xxxxxxxxxx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30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146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117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629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21" y="1677171"/>
            <a:ext cx="8224981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222096" y="6164145"/>
            <a:ext cx="397416" cy="638099"/>
          </a:xfrm>
        </p:spPr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Straight Connector 7"/>
          <p:cNvCxnSpPr/>
          <p:nvPr userDrawn="1"/>
        </p:nvCxnSpPr>
        <p:spPr>
          <a:xfrm>
            <a:off x="215900" y="6156984"/>
            <a:ext cx="8712200" cy="1587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6351658"/>
            <a:ext cx="7012194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062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4A8F01-7D29-4868-9B02-202CE11269B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54905" y="6351659"/>
            <a:ext cx="7012194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215900" y="6156985"/>
            <a:ext cx="8712200" cy="1587"/>
          </a:xfrm>
          <a:prstGeom prst="line">
            <a:avLst/>
          </a:prstGeom>
          <a:ln w="3175" cmpd="sng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482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355600" y="1441452"/>
            <a:ext cx="8432800" cy="473075"/>
          </a:xfrm>
        </p:spPr>
        <p:txBody>
          <a:bodyPr>
            <a:noAutofit/>
          </a:bodyPr>
          <a:lstStyle>
            <a:lvl1pPr algn="ctr">
              <a:defRPr sz="3100" b="1" i="0">
                <a:solidFill>
                  <a:schemeClr val="accent1"/>
                </a:solidFill>
              </a:defRPr>
            </a:lvl1pPr>
          </a:lstStyle>
          <a:p>
            <a:r>
              <a:rPr lang="nb-NO" dirty="0" err="1" smtClean="0"/>
              <a:t>Xxxxxxxxx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355600" y="1847851"/>
            <a:ext cx="8432800" cy="470148"/>
          </a:xfrm>
        </p:spPr>
        <p:txBody>
          <a:bodyPr>
            <a:normAutofit/>
          </a:bodyPr>
          <a:lstStyle>
            <a:lvl1pPr marL="0" indent="0" algn="ctr">
              <a:buNone/>
              <a:defRPr sz="2100" b="0" i="0">
                <a:solidFill>
                  <a:schemeClr val="accent4"/>
                </a:solidFill>
                <a:latin typeface="Telenor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Xxxxxxxxxx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225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1"/>
                </a:solidFill>
                <a:latin typeface="Together"/>
                <a:cs typeface="Together"/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Arial"/>
              <a:buChar char="•"/>
              <a:defRPr b="0" i="0">
                <a:solidFill>
                  <a:srgbClr val="00A0E0"/>
                </a:solidFill>
                <a:latin typeface="Telenor Light"/>
                <a:cs typeface="Telenor Light"/>
              </a:defRPr>
            </a:lvl1pPr>
            <a:lvl2pPr>
              <a:defRPr b="0" i="0">
                <a:latin typeface="Telenor Light"/>
                <a:cs typeface="Telenor Light"/>
              </a:defRPr>
            </a:lvl2pPr>
            <a:lvl3pPr>
              <a:defRPr b="0" i="0">
                <a:latin typeface="Telenor Light"/>
                <a:cs typeface="Telenor Light"/>
              </a:defRPr>
            </a:lvl3pPr>
            <a:lvl4pPr>
              <a:defRPr b="0" i="0">
                <a:latin typeface="Telenor Light"/>
                <a:cs typeface="Telenor Light"/>
              </a:defRPr>
            </a:lvl4pPr>
            <a:lvl5pPr>
              <a:defRPr b="0" i="0">
                <a:latin typeface="Telenor Light"/>
                <a:cs typeface="Telenor Light"/>
              </a:defRPr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599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0" i="0" cap="all">
                <a:solidFill>
                  <a:schemeClr val="accent1"/>
                </a:solidFill>
                <a:latin typeface="Telenor Light"/>
                <a:cs typeface="Telenor Light"/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880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070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333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277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443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324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52615188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1415755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2785704"/>
            <a:ext cx="8229600" cy="33404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DE8D56D-3139-C54A-9F5B-F4B20D88674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 defTabSz="457200"/>
              <a:t>25.04.2016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EEC4F21D-3BEC-F54F-8969-77176B0DFB21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Bilde 14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72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elenor"/>
          <a:ea typeface="+mj-ea"/>
          <a:cs typeface="Telenor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Telenor"/>
          <a:ea typeface="+mn-ea"/>
          <a:cs typeface="Telenor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Telenor"/>
          <a:ea typeface="+mn-ea"/>
          <a:cs typeface="Telenor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Telenor"/>
          <a:ea typeface="+mn-ea"/>
          <a:cs typeface="Telenor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Telenor"/>
          <a:ea typeface="+mn-ea"/>
          <a:cs typeface="Telenor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Telenor"/>
          <a:ea typeface="+mn-ea"/>
          <a:cs typeface="Teleno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0.emf"/><Relationship Id="rId18" Type="http://schemas.openxmlformats.org/officeDocument/2006/relationships/image" Target="../media/image15.emf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18.emf"/><Relationship Id="rId7" Type="http://schemas.openxmlformats.org/officeDocument/2006/relationships/image" Target="../media/image4.emf"/><Relationship Id="rId12" Type="http://schemas.openxmlformats.org/officeDocument/2006/relationships/image" Target="../media/image9.emf"/><Relationship Id="rId17" Type="http://schemas.openxmlformats.org/officeDocument/2006/relationships/image" Target="../media/image14.emf"/><Relationship Id="rId2" Type="http://schemas.openxmlformats.org/officeDocument/2006/relationships/tags" Target="../tags/tag2.xml"/><Relationship Id="rId16" Type="http://schemas.openxmlformats.org/officeDocument/2006/relationships/image" Target="../media/image13.emf"/><Relationship Id="rId20" Type="http://schemas.openxmlformats.org/officeDocument/2006/relationships/image" Target="../media/image17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8.emf"/><Relationship Id="rId24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2.emf"/><Relationship Id="rId23" Type="http://schemas.openxmlformats.org/officeDocument/2006/relationships/image" Target="../media/image20.emf"/><Relationship Id="rId10" Type="http://schemas.openxmlformats.org/officeDocument/2006/relationships/image" Target="../media/image7.emf"/><Relationship Id="rId19" Type="http://schemas.openxmlformats.org/officeDocument/2006/relationships/image" Target="../media/image16.em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emf"/><Relationship Id="rId14" Type="http://schemas.openxmlformats.org/officeDocument/2006/relationships/image" Target="../media/image11.emf"/><Relationship Id="rId22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01850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ilde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73" y="3069079"/>
            <a:ext cx="787400" cy="800100"/>
          </a:xfrm>
          <a:prstGeom prst="rect">
            <a:avLst/>
          </a:prstGeom>
        </p:spPr>
      </p:pic>
      <p:pic>
        <p:nvPicPr>
          <p:cNvPr id="29" name="Bilde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837" y="3069079"/>
            <a:ext cx="787400" cy="800100"/>
          </a:xfrm>
          <a:prstGeom prst="rect">
            <a:avLst/>
          </a:prstGeom>
        </p:spPr>
      </p:pic>
      <p:pic>
        <p:nvPicPr>
          <p:cNvPr id="30" name="Bilde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933" y="3069079"/>
            <a:ext cx="787400" cy="800100"/>
          </a:xfrm>
          <a:prstGeom prst="rect">
            <a:avLst/>
          </a:prstGeom>
        </p:spPr>
      </p:pic>
      <p:pic>
        <p:nvPicPr>
          <p:cNvPr id="31" name="Bilde 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029" y="3069079"/>
            <a:ext cx="787400" cy="800100"/>
          </a:xfrm>
          <a:prstGeom prst="rect">
            <a:avLst/>
          </a:prstGeom>
        </p:spPr>
      </p:pic>
      <p:pic>
        <p:nvPicPr>
          <p:cNvPr id="32" name="Bilde 3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125" y="3069079"/>
            <a:ext cx="787400" cy="800100"/>
          </a:xfrm>
          <a:prstGeom prst="rect">
            <a:avLst/>
          </a:prstGeom>
        </p:spPr>
      </p:pic>
      <p:pic>
        <p:nvPicPr>
          <p:cNvPr id="33" name="Bilde 3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221" y="3069079"/>
            <a:ext cx="787400" cy="800100"/>
          </a:xfrm>
          <a:prstGeom prst="rect">
            <a:avLst/>
          </a:prstGeom>
        </p:spPr>
      </p:pic>
      <p:pic>
        <p:nvPicPr>
          <p:cNvPr id="34" name="Bilde 3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967" y="3069079"/>
            <a:ext cx="787400" cy="800100"/>
          </a:xfrm>
          <a:prstGeom prst="rect">
            <a:avLst/>
          </a:prstGeom>
        </p:spPr>
      </p:pic>
      <p:pic>
        <p:nvPicPr>
          <p:cNvPr id="35" name="Bilde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063" y="3069079"/>
            <a:ext cx="787400" cy="800100"/>
          </a:xfrm>
          <a:prstGeom prst="rect">
            <a:avLst/>
          </a:prstGeom>
        </p:spPr>
      </p:pic>
      <p:pic>
        <p:nvPicPr>
          <p:cNvPr id="39" name="Bilde 38" descr="Frihet logo.pdf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23" y="2522976"/>
            <a:ext cx="1320800" cy="457200"/>
          </a:xfrm>
          <a:prstGeom prst="rect">
            <a:avLst/>
          </a:prstGeom>
        </p:spPr>
      </p:pic>
      <p:pic>
        <p:nvPicPr>
          <p:cNvPr id="41" name="Bilde 40" descr="Ung logo.pdf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73" y="4309087"/>
            <a:ext cx="787400" cy="304800"/>
          </a:xfrm>
          <a:prstGeom prst="rect">
            <a:avLst/>
          </a:prstGeom>
        </p:spPr>
      </p:pic>
      <p:pic>
        <p:nvPicPr>
          <p:cNvPr id="42" name="Bilde 4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23" y="4741135"/>
            <a:ext cx="787400" cy="800100"/>
          </a:xfrm>
          <a:prstGeom prst="rect">
            <a:avLst/>
          </a:prstGeom>
        </p:spPr>
      </p:pic>
      <p:pic>
        <p:nvPicPr>
          <p:cNvPr id="43" name="Bilde 4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7487" y="4741135"/>
            <a:ext cx="787400" cy="800100"/>
          </a:xfrm>
          <a:prstGeom prst="rect">
            <a:avLst/>
          </a:prstGeom>
        </p:spPr>
      </p:pic>
      <p:pic>
        <p:nvPicPr>
          <p:cNvPr id="44" name="Bilde 4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933" y="4741135"/>
            <a:ext cx="787400" cy="800100"/>
          </a:xfrm>
          <a:prstGeom prst="rect">
            <a:avLst/>
          </a:prstGeom>
        </p:spPr>
      </p:pic>
      <p:pic>
        <p:nvPicPr>
          <p:cNvPr id="45" name="Bilde 4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5679" y="4741135"/>
            <a:ext cx="787400" cy="800100"/>
          </a:xfrm>
          <a:prstGeom prst="rect">
            <a:avLst/>
          </a:prstGeom>
        </p:spPr>
      </p:pic>
      <p:sp>
        <p:nvSpPr>
          <p:cNvPr id="20" name="Rektangel 24"/>
          <p:cNvSpPr/>
          <p:nvPr/>
        </p:nvSpPr>
        <p:spPr>
          <a:xfrm>
            <a:off x="683568" y="1316765"/>
            <a:ext cx="7704000" cy="8360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21" name="Bilde 3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6711" y="1424005"/>
            <a:ext cx="622554" cy="622555"/>
          </a:xfrm>
          <a:prstGeom prst="rect">
            <a:avLst/>
          </a:prstGeom>
        </p:spPr>
      </p:pic>
      <p:sp>
        <p:nvSpPr>
          <p:cNvPr id="22" name="TekstSylinder 39"/>
          <p:cNvSpPr txBox="1"/>
          <p:nvPr/>
        </p:nvSpPr>
        <p:spPr>
          <a:xfrm>
            <a:off x="1521197" y="1610994"/>
            <a:ext cx="1232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nb-NO" sz="1200" b="1" dirty="0">
                <a:solidFill>
                  <a:srgbClr val="00A0E0"/>
                </a:solidFill>
                <a:latin typeface="Telenor Font" panose="020B0504020202020204" pitchFamily="34" charset="0"/>
                <a:cs typeface="Telenor"/>
              </a:rPr>
              <a:t>FRIHET I EU </a:t>
            </a:r>
          </a:p>
        </p:txBody>
      </p:sp>
      <p:pic>
        <p:nvPicPr>
          <p:cNvPr id="23" name="Bilde 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1424005"/>
            <a:ext cx="622554" cy="622555"/>
          </a:xfrm>
          <a:prstGeom prst="rect">
            <a:avLst/>
          </a:prstGeom>
        </p:spPr>
      </p:pic>
      <p:pic>
        <p:nvPicPr>
          <p:cNvPr id="26" name="Bilde 2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424003"/>
            <a:ext cx="621604" cy="621604"/>
          </a:xfrm>
          <a:prstGeom prst="rect">
            <a:avLst/>
          </a:prstGeom>
        </p:spPr>
      </p:pic>
      <p:sp>
        <p:nvSpPr>
          <p:cNvPr id="27" name="TekstSylinder 40"/>
          <p:cNvSpPr txBox="1"/>
          <p:nvPr/>
        </p:nvSpPr>
        <p:spPr>
          <a:xfrm>
            <a:off x="4238557" y="1610994"/>
            <a:ext cx="1442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nb-NO" sz="1200" b="1" dirty="0">
                <a:solidFill>
                  <a:srgbClr val="00A0E0"/>
                </a:solidFill>
                <a:latin typeface="Telenor Font" panose="020B0504020202020204" pitchFamily="34" charset="0"/>
                <a:cs typeface="Telenor"/>
              </a:rPr>
              <a:t>FRIHET I SKYEN </a:t>
            </a:r>
          </a:p>
        </p:txBody>
      </p:sp>
      <p:sp>
        <p:nvSpPr>
          <p:cNvPr id="36" name="TekstSylinder 40"/>
          <p:cNvSpPr txBox="1"/>
          <p:nvPr/>
        </p:nvSpPr>
        <p:spPr>
          <a:xfrm>
            <a:off x="6850746" y="1610994"/>
            <a:ext cx="1442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nb-NO" sz="1200" b="1" dirty="0">
                <a:solidFill>
                  <a:srgbClr val="00A0E0"/>
                </a:solidFill>
                <a:latin typeface="Telenor Font" panose="020B0504020202020204" pitchFamily="34" charset="0"/>
                <a:cs typeface="Telenor"/>
              </a:rPr>
              <a:t>FRIHET I NORGE</a:t>
            </a:r>
          </a:p>
        </p:txBody>
      </p:sp>
      <p:sp>
        <p:nvSpPr>
          <p:cNvPr id="37" name="Undertittel 2"/>
          <p:cNvSpPr txBox="1">
            <a:spLocks/>
          </p:cNvSpPr>
          <p:nvPr/>
        </p:nvSpPr>
        <p:spPr>
          <a:xfrm>
            <a:off x="555223" y="847146"/>
            <a:ext cx="7227268" cy="403097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100" b="0" i="0" kern="1200">
                <a:solidFill>
                  <a:schemeClr val="bg1"/>
                </a:solidFill>
                <a:latin typeface="Telenor Light"/>
                <a:ea typeface="+mn-ea"/>
                <a:cs typeface="Telenor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Telenor"/>
                <a:ea typeface="+mn-ea"/>
                <a:cs typeface="Telenor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Telenor"/>
                <a:ea typeface="+mn-ea"/>
                <a:cs typeface="Telenor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Telenor"/>
                <a:ea typeface="+mn-ea"/>
                <a:cs typeface="Telenor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Telenor"/>
                <a:ea typeface="+mn-ea"/>
                <a:cs typeface="Telenor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nb-NO" sz="1700" dirty="0">
              <a:solidFill>
                <a:prstClr val="white"/>
              </a:solidFill>
              <a:cs typeface="Telenor Light"/>
            </a:endParaRPr>
          </a:p>
        </p:txBody>
      </p:sp>
      <p:sp>
        <p:nvSpPr>
          <p:cNvPr id="38" name="Tittel 1"/>
          <p:cNvSpPr>
            <a:spLocks noGrp="1"/>
          </p:cNvSpPr>
          <p:nvPr>
            <p:ph type="ctrTitle"/>
          </p:nvPr>
        </p:nvSpPr>
        <p:spPr>
          <a:xfrm>
            <a:off x="554316" y="464950"/>
            <a:ext cx="8266156" cy="785292"/>
          </a:xfrm>
        </p:spPr>
        <p:txBody>
          <a:bodyPr/>
          <a:lstStyle/>
          <a:p>
            <a:pPr algn="l"/>
            <a:r>
              <a:rPr lang="nb-NO" sz="2000" b="0" dirty="0" smtClean="0"/>
              <a:t>Nye mobilabonnement til privatkunder</a:t>
            </a:r>
            <a:endParaRPr lang="nb-NO" sz="2000" b="0" dirty="0"/>
          </a:p>
        </p:txBody>
      </p:sp>
      <p:pic>
        <p:nvPicPr>
          <p:cNvPr id="46" name="Bilde 3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465" y="3069079"/>
            <a:ext cx="78740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86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3936407" y="1194353"/>
            <a:ext cx="1287263" cy="8224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3600" smtClean="0">
                <a:solidFill>
                  <a:srgbClr val="00B0F0"/>
                </a:solidFill>
                <a:latin typeface="Telenor Font" panose="020B0504020202020204" pitchFamily="34" charset="0"/>
              </a:rPr>
              <a:t>For bedriftskunder</a:t>
            </a:r>
            <a:r>
              <a:rPr lang="nb-NO" sz="3600" dirty="0" smtClean="0">
                <a:solidFill>
                  <a:srgbClr val="00B0F0"/>
                </a:solidFill>
                <a:latin typeface="Telenor Font" panose="020B0504020202020204" pitchFamily="34" charset="0"/>
              </a:rPr>
              <a:t>: Frihet med Fri+</a:t>
            </a:r>
            <a:endParaRPr lang="nb-NO" sz="3600" dirty="0">
              <a:solidFill>
                <a:srgbClr val="00B0F0"/>
              </a:solidFill>
              <a:latin typeface="Telenor Font" panose="020B0504020202020204" pitchFamily="34" charset="0"/>
            </a:endParaRP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545" y="1412777"/>
            <a:ext cx="8224983" cy="329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327548" y="4609535"/>
            <a:ext cx="822498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  <a:ea typeface="ＭＳ Ｐゴシック" charset="-128"/>
              </a:defRPr>
            </a:lvl9pPr>
          </a:lstStyle>
          <a:p>
            <a:endParaRPr lang="nb-NO" sz="1800" dirty="0" smtClean="0">
              <a:latin typeface="Telenor Font" panose="020B0504020202020204" pitchFamily="34" charset="0"/>
            </a:endParaRPr>
          </a:p>
          <a:p>
            <a:r>
              <a:rPr lang="nb-NO" sz="1800" dirty="0">
                <a:latin typeface="Telenor Font" panose="020B0504020202020204" pitchFamily="34" charset="0"/>
              </a:rPr>
              <a:t>	</a:t>
            </a:r>
            <a:r>
              <a:rPr lang="nb-NO" sz="1600" dirty="0" smtClean="0">
                <a:solidFill>
                  <a:schemeClr val="bg1">
                    <a:lumMod val="50000"/>
                  </a:schemeClr>
                </a:solidFill>
                <a:latin typeface="Telenor Font" panose="020B0504020202020204" pitchFamily="34" charset="0"/>
              </a:rPr>
              <a:t>Inkludert i abonnementene er:</a:t>
            </a:r>
            <a:endParaRPr lang="nb-NO" sz="1600" dirty="0">
              <a:solidFill>
                <a:schemeClr val="bg1">
                  <a:lumMod val="50000"/>
                </a:schemeClr>
              </a:solidFill>
              <a:latin typeface="Telenor Font" panose="020B05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39702" y="4800109"/>
            <a:ext cx="1098302" cy="7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0243" y="4815957"/>
            <a:ext cx="550117" cy="730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90360" y="4849867"/>
            <a:ext cx="737877" cy="691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28237" y="4894268"/>
            <a:ext cx="1274517" cy="573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1502" y="4172850"/>
            <a:ext cx="361028" cy="25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1302" y="4172850"/>
            <a:ext cx="361028" cy="25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2052" y="4172850"/>
            <a:ext cx="361028" cy="25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1852" y="4172850"/>
            <a:ext cx="361028" cy="25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417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ffice-tema">
  <a:themeElements>
    <a:clrScheme name="Egendefin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A0E0"/>
      </a:accent1>
      <a:accent2>
        <a:srgbClr val="E0F5FD"/>
      </a:accent2>
      <a:accent3>
        <a:srgbClr val="87D8F4"/>
      </a:accent3>
      <a:accent4>
        <a:srgbClr val="A1A5A7"/>
      </a:accent4>
      <a:accent5>
        <a:srgbClr val="EE7402"/>
      </a:accent5>
      <a:accent6>
        <a:srgbClr val="A4167F"/>
      </a:accent6>
      <a:hlink>
        <a:srgbClr val="00A0E0"/>
      </a:hlink>
      <a:folHlink>
        <a:srgbClr val="3B71B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2</Words>
  <Application>Microsoft Office PowerPoint</Application>
  <PresentationFormat>On-screen Show (4:3)</PresentationFormat>
  <Paragraphs>9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5_Office-tema</vt:lpstr>
      <vt:lpstr>think-cell Slide</vt:lpstr>
      <vt:lpstr>Nye mobilabonnement til privatkunder</vt:lpstr>
      <vt:lpstr>For bedriftskunder: Frihet med Fri+</vt:lpstr>
    </vt:vector>
  </TitlesOfParts>
  <Company>Telenor ASA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e mobilabonnement til privatkunder</dc:title>
  <dc:creator>Anders Krokan</dc:creator>
  <cp:lastModifiedBy>Anders Krokan</cp:lastModifiedBy>
  <cp:revision>3</cp:revision>
  <dcterms:created xsi:type="dcterms:W3CDTF">2016-04-25T20:55:45Z</dcterms:created>
  <dcterms:modified xsi:type="dcterms:W3CDTF">2016-04-25T21:00:46Z</dcterms:modified>
</cp:coreProperties>
</file>